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314"/>
  </p:notesMasterIdLst>
  <p:handoutMasterIdLst>
    <p:handoutMasterId r:id="rId315"/>
  </p:handoutMasterIdLst>
  <p:sldIdLst>
    <p:sldId id="343" r:id="rId4"/>
    <p:sldId id="325" r:id="rId5"/>
    <p:sldId id="327" r:id="rId6"/>
    <p:sldId id="10470" r:id="rId7"/>
    <p:sldId id="371" r:id="rId8"/>
    <p:sldId id="328" r:id="rId9"/>
    <p:sldId id="10525" r:id="rId10"/>
    <p:sldId id="511" r:id="rId11"/>
    <p:sldId id="10522" r:id="rId12"/>
    <p:sldId id="10585" r:id="rId13"/>
    <p:sldId id="10471"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10523" r:id="rId29"/>
    <p:sldId id="938" r:id="rId30"/>
    <p:sldId id="947" r:id="rId31"/>
    <p:sldId id="10526" r:id="rId32"/>
    <p:sldId id="10524" r:id="rId33"/>
    <p:sldId id="340" r:id="rId34"/>
    <p:sldId id="609" r:id="rId35"/>
    <p:sldId id="966" r:id="rId36"/>
    <p:sldId id="967" r:id="rId37"/>
    <p:sldId id="971" r:id="rId38"/>
    <p:sldId id="972" r:id="rId39"/>
    <p:sldId id="973" r:id="rId40"/>
    <p:sldId id="974" r:id="rId41"/>
    <p:sldId id="975" r:id="rId42"/>
    <p:sldId id="10527" r:id="rId43"/>
    <p:sldId id="980" r:id="rId44"/>
    <p:sldId id="968" r:id="rId45"/>
    <p:sldId id="10531" r:id="rId46"/>
    <p:sldId id="10532" r:id="rId47"/>
    <p:sldId id="10528" r:id="rId48"/>
    <p:sldId id="10529" r:id="rId49"/>
    <p:sldId id="10530" r:id="rId50"/>
    <p:sldId id="10533" r:id="rId51"/>
    <p:sldId id="976" r:id="rId52"/>
    <p:sldId id="10472" r:id="rId53"/>
    <p:sldId id="1003" r:id="rId54"/>
    <p:sldId id="611" r:id="rId55"/>
    <p:sldId id="948" r:id="rId56"/>
    <p:sldId id="612" r:id="rId57"/>
    <p:sldId id="613" r:id="rId58"/>
    <p:sldId id="614" r:id="rId59"/>
    <p:sldId id="616" r:id="rId60"/>
    <p:sldId id="949" r:id="rId61"/>
    <p:sldId id="950" r:id="rId62"/>
    <p:sldId id="951" r:id="rId63"/>
    <p:sldId id="952" r:id="rId64"/>
    <p:sldId id="955" r:id="rId65"/>
    <p:sldId id="953" r:id="rId66"/>
    <p:sldId id="1012" r:id="rId67"/>
    <p:sldId id="1016" r:id="rId68"/>
    <p:sldId id="1013" r:id="rId69"/>
    <p:sldId id="1014" r:id="rId70"/>
    <p:sldId id="1015" r:id="rId71"/>
    <p:sldId id="1018" r:id="rId72"/>
    <p:sldId id="1043" r:id="rId73"/>
    <p:sldId id="1019" r:id="rId74"/>
    <p:sldId id="1071" r:id="rId75"/>
    <p:sldId id="1036" r:id="rId76"/>
    <p:sldId id="1037" r:id="rId77"/>
    <p:sldId id="1038" r:id="rId78"/>
    <p:sldId id="1040" r:id="rId79"/>
    <p:sldId id="1020" r:id="rId80"/>
    <p:sldId id="1021" r:id="rId81"/>
    <p:sldId id="1022" r:id="rId82"/>
    <p:sldId id="1023" r:id="rId83"/>
    <p:sldId id="1024" r:id="rId84"/>
    <p:sldId id="1025" r:id="rId85"/>
    <p:sldId id="1026" r:id="rId86"/>
    <p:sldId id="1027" r:id="rId87"/>
    <p:sldId id="1030" r:id="rId88"/>
    <p:sldId id="1031" r:id="rId89"/>
    <p:sldId id="1044" r:id="rId90"/>
    <p:sldId id="1042" r:id="rId91"/>
    <p:sldId id="1039" r:id="rId92"/>
    <p:sldId id="1032" r:id="rId93"/>
    <p:sldId id="1033" r:id="rId94"/>
    <p:sldId id="1034" r:id="rId95"/>
    <p:sldId id="1045" r:id="rId96"/>
    <p:sldId id="1035" r:id="rId97"/>
    <p:sldId id="1046" r:id="rId98"/>
    <p:sldId id="1047" r:id="rId99"/>
    <p:sldId id="1028" r:id="rId100"/>
    <p:sldId id="1048" r:id="rId101"/>
    <p:sldId id="1049" r:id="rId102"/>
    <p:sldId id="1050" r:id="rId103"/>
    <p:sldId id="1051" r:id="rId104"/>
    <p:sldId id="1052" r:id="rId105"/>
    <p:sldId id="1029" r:id="rId106"/>
    <p:sldId id="1053" r:id="rId107"/>
    <p:sldId id="1054" r:id="rId108"/>
    <p:sldId id="1055" r:id="rId109"/>
    <p:sldId id="1056" r:id="rId110"/>
    <p:sldId id="1057" r:id="rId111"/>
    <p:sldId id="1072" r:id="rId112"/>
    <p:sldId id="1060" r:id="rId113"/>
    <p:sldId id="1062" r:id="rId114"/>
    <p:sldId id="1064" r:id="rId115"/>
    <p:sldId id="1061" r:id="rId116"/>
    <p:sldId id="1065" r:id="rId117"/>
    <p:sldId id="1066" r:id="rId118"/>
    <p:sldId id="1070" r:id="rId119"/>
    <p:sldId id="1067" r:id="rId120"/>
    <p:sldId id="1068" r:id="rId121"/>
    <p:sldId id="1069" r:id="rId122"/>
    <p:sldId id="1058" r:id="rId123"/>
    <p:sldId id="1073" r:id="rId124"/>
    <p:sldId id="1059" r:id="rId125"/>
    <p:sldId id="1074" r:id="rId126"/>
    <p:sldId id="1075" r:id="rId127"/>
    <p:sldId id="1078" r:id="rId128"/>
    <p:sldId id="1079" r:id="rId129"/>
    <p:sldId id="1080" r:id="rId130"/>
    <p:sldId id="10473" r:id="rId131"/>
    <p:sldId id="1081" r:id="rId132"/>
    <p:sldId id="1076" r:id="rId133"/>
    <p:sldId id="1077" r:id="rId134"/>
    <p:sldId id="1082" r:id="rId135"/>
    <p:sldId id="1083" r:id="rId136"/>
    <p:sldId id="1084" r:id="rId137"/>
    <p:sldId id="1085" r:id="rId138"/>
    <p:sldId id="1088" r:id="rId139"/>
    <p:sldId id="1089" r:id="rId140"/>
    <p:sldId id="10536" r:id="rId141"/>
    <p:sldId id="1090" r:id="rId142"/>
    <p:sldId id="1091" r:id="rId143"/>
    <p:sldId id="10537" r:id="rId144"/>
    <p:sldId id="1087" r:id="rId145"/>
    <p:sldId id="1086" r:id="rId146"/>
    <p:sldId id="1092" r:id="rId147"/>
    <p:sldId id="1098" r:id="rId148"/>
    <p:sldId id="1093" r:id="rId149"/>
    <p:sldId id="1094" r:id="rId150"/>
    <p:sldId id="1095" r:id="rId151"/>
    <p:sldId id="1096" r:id="rId152"/>
    <p:sldId id="1103" r:id="rId153"/>
    <p:sldId id="1118" r:id="rId154"/>
    <p:sldId id="1097" r:id="rId155"/>
    <p:sldId id="1099" r:id="rId156"/>
    <p:sldId id="1100" r:id="rId157"/>
    <p:sldId id="1104" r:id="rId158"/>
    <p:sldId id="1107" r:id="rId159"/>
    <p:sldId id="1106" r:id="rId160"/>
    <p:sldId id="1108" r:id="rId161"/>
    <p:sldId id="1109" r:id="rId162"/>
    <p:sldId id="1110" r:id="rId163"/>
    <p:sldId id="1111" r:id="rId164"/>
    <p:sldId id="10476" r:id="rId165"/>
    <p:sldId id="1101" r:id="rId166"/>
    <p:sldId id="1102" r:id="rId167"/>
    <p:sldId id="1119" r:id="rId168"/>
    <p:sldId id="665" r:id="rId169"/>
    <p:sldId id="1122" r:id="rId170"/>
    <p:sldId id="1120" r:id="rId171"/>
    <p:sldId id="1121" r:id="rId172"/>
    <p:sldId id="834" r:id="rId173"/>
    <p:sldId id="838" r:id="rId174"/>
    <p:sldId id="839" r:id="rId175"/>
    <p:sldId id="841" r:id="rId176"/>
    <p:sldId id="842" r:id="rId177"/>
    <p:sldId id="843" r:id="rId178"/>
    <p:sldId id="835" r:id="rId179"/>
    <p:sldId id="844" r:id="rId180"/>
    <p:sldId id="836" r:id="rId181"/>
    <p:sldId id="846" r:id="rId182"/>
    <p:sldId id="847" r:id="rId183"/>
    <p:sldId id="868" r:id="rId184"/>
    <p:sldId id="869" r:id="rId185"/>
    <p:sldId id="872" r:id="rId186"/>
    <p:sldId id="870" r:id="rId187"/>
    <p:sldId id="10475" r:id="rId188"/>
    <p:sldId id="1112" r:id="rId189"/>
    <p:sldId id="1114" r:id="rId190"/>
    <p:sldId id="1113" r:id="rId191"/>
    <p:sldId id="1125" r:id="rId192"/>
    <p:sldId id="1129" r:id="rId193"/>
    <p:sldId id="1126" r:id="rId194"/>
    <p:sldId id="1123" r:id="rId195"/>
    <p:sldId id="1124" r:id="rId196"/>
    <p:sldId id="1128" r:id="rId197"/>
    <p:sldId id="1131" r:id="rId198"/>
    <p:sldId id="1127" r:id="rId199"/>
    <p:sldId id="1130" r:id="rId200"/>
    <p:sldId id="1132" r:id="rId201"/>
    <p:sldId id="1133" r:id="rId202"/>
    <p:sldId id="1134" r:id="rId203"/>
    <p:sldId id="10490" r:id="rId204"/>
    <p:sldId id="1115" r:id="rId205"/>
    <p:sldId id="1116" r:id="rId206"/>
    <p:sldId id="1117" r:id="rId207"/>
    <p:sldId id="1105" r:id="rId208"/>
    <p:sldId id="1011" r:id="rId209"/>
    <p:sldId id="10403" r:id="rId210"/>
    <p:sldId id="10404" r:id="rId211"/>
    <p:sldId id="10405" r:id="rId212"/>
    <p:sldId id="10402" r:id="rId213"/>
    <p:sldId id="10407" r:id="rId214"/>
    <p:sldId id="10446" r:id="rId215"/>
    <p:sldId id="10440" r:id="rId216"/>
    <p:sldId id="10441" r:id="rId217"/>
    <p:sldId id="10451" r:id="rId218"/>
    <p:sldId id="10431" r:id="rId219"/>
    <p:sldId id="10452" r:id="rId220"/>
    <p:sldId id="10453" r:id="rId221"/>
    <p:sldId id="10454" r:id="rId222"/>
    <p:sldId id="10455" r:id="rId223"/>
    <p:sldId id="10448" r:id="rId224"/>
    <p:sldId id="10449" r:id="rId225"/>
    <p:sldId id="10450" r:id="rId226"/>
    <p:sldId id="10459" r:id="rId227"/>
    <p:sldId id="10447" r:id="rId228"/>
    <p:sldId id="10406" r:id="rId229"/>
    <p:sldId id="10425" r:id="rId230"/>
    <p:sldId id="10426" r:id="rId231"/>
    <p:sldId id="10409" r:id="rId232"/>
    <p:sldId id="10421" r:id="rId233"/>
    <p:sldId id="10417" r:id="rId234"/>
    <p:sldId id="10408" r:id="rId235"/>
    <p:sldId id="10427" r:id="rId236"/>
    <p:sldId id="10435" r:id="rId237"/>
    <p:sldId id="10437" r:id="rId238"/>
    <p:sldId id="10436" r:id="rId239"/>
    <p:sldId id="10438" r:id="rId240"/>
    <p:sldId id="10439" r:id="rId241"/>
    <p:sldId id="10442" r:id="rId242"/>
    <p:sldId id="10443" r:id="rId243"/>
    <p:sldId id="10444" r:id="rId244"/>
    <p:sldId id="10445" r:id="rId245"/>
    <p:sldId id="10428" r:id="rId246"/>
    <p:sldId id="10429" r:id="rId247"/>
    <p:sldId id="10430" r:id="rId248"/>
    <p:sldId id="10422" r:id="rId249"/>
    <p:sldId id="10423" r:id="rId250"/>
    <p:sldId id="10534" r:id="rId251"/>
    <p:sldId id="10535" r:id="rId252"/>
    <p:sldId id="10545" r:id="rId253"/>
    <p:sldId id="10546" r:id="rId254"/>
    <p:sldId id="10547" r:id="rId255"/>
    <p:sldId id="10548" r:id="rId256"/>
    <p:sldId id="10549" r:id="rId257"/>
    <p:sldId id="10552" r:id="rId258"/>
    <p:sldId id="10553" r:id="rId259"/>
    <p:sldId id="10550" r:id="rId260"/>
    <p:sldId id="10551" r:id="rId261"/>
    <p:sldId id="10554" r:id="rId262"/>
    <p:sldId id="10538" r:id="rId263"/>
    <p:sldId id="10557" r:id="rId264"/>
    <p:sldId id="10558" r:id="rId265"/>
    <p:sldId id="10559" r:id="rId266"/>
    <p:sldId id="10556" r:id="rId267"/>
    <p:sldId id="10555" r:id="rId268"/>
    <p:sldId id="10562" r:id="rId269"/>
    <p:sldId id="10566" r:id="rId270"/>
    <p:sldId id="10563" r:id="rId271"/>
    <p:sldId id="10567" r:id="rId272"/>
    <p:sldId id="10564" r:id="rId273"/>
    <p:sldId id="10565" r:id="rId274"/>
    <p:sldId id="10568" r:id="rId275"/>
    <p:sldId id="10579" r:id="rId276"/>
    <p:sldId id="10569" r:id="rId277"/>
    <p:sldId id="10575" r:id="rId278"/>
    <p:sldId id="10541" r:id="rId279"/>
    <p:sldId id="10576" r:id="rId280"/>
    <p:sldId id="10577" r:id="rId281"/>
    <p:sldId id="10578" r:id="rId282"/>
    <p:sldId id="10570" r:id="rId283"/>
    <p:sldId id="10571" r:id="rId284"/>
    <p:sldId id="10572" r:id="rId285"/>
    <p:sldId id="10573" r:id="rId286"/>
    <p:sldId id="10574" r:id="rId287"/>
    <p:sldId id="10540" r:id="rId288"/>
    <p:sldId id="10580" r:id="rId289"/>
    <p:sldId id="10542" r:id="rId290"/>
    <p:sldId id="10543" r:id="rId291"/>
    <p:sldId id="10581" r:id="rId292"/>
    <p:sldId id="10582" r:id="rId293"/>
    <p:sldId id="10583" r:id="rId294"/>
    <p:sldId id="10584" r:id="rId295"/>
    <p:sldId id="936" r:id="rId296"/>
    <p:sldId id="10587" r:id="rId297"/>
    <p:sldId id="10588" r:id="rId298"/>
    <p:sldId id="823" r:id="rId299"/>
    <p:sldId id="824" r:id="rId300"/>
    <p:sldId id="810" r:id="rId301"/>
    <p:sldId id="10560" r:id="rId302"/>
    <p:sldId id="512" r:id="rId303"/>
    <p:sldId id="10561" r:id="rId304"/>
    <p:sldId id="294" r:id="rId305"/>
    <p:sldId id="332" r:id="rId306"/>
    <p:sldId id="349" r:id="rId307"/>
    <p:sldId id="344" r:id="rId308"/>
    <p:sldId id="333" r:id="rId309"/>
    <p:sldId id="339" r:id="rId310"/>
    <p:sldId id="336" r:id="rId311"/>
    <p:sldId id="337" r:id="rId312"/>
    <p:sldId id="341" r:id="rId313"/>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 id="10585"/>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57"/>
            <p14:sldId id="10558"/>
            <p14:sldId id="10559"/>
            <p14:sldId id="10556"/>
            <p14:sldId id="10555"/>
            <p14:sldId id="10562"/>
            <p14:sldId id="10566"/>
            <p14:sldId id="10563"/>
            <p14:sldId id="10567"/>
            <p14:sldId id="10564"/>
            <p14:sldId id="10565"/>
            <p14:sldId id="10568"/>
            <p14:sldId id="10579"/>
            <p14:sldId id="10569"/>
            <p14:sldId id="10575"/>
          </p14:sldIdLst>
        </p14:section>
        <p14:section name="DEMO 9" id="{A8F48E4E-B6BB-4AB0-8566-E543075632EB}">
          <p14:sldIdLst>
            <p14:sldId id="10541"/>
            <p14:sldId id="10576"/>
            <p14:sldId id="10577"/>
            <p14:sldId id="10578"/>
            <p14:sldId id="10570"/>
            <p14:sldId id="10571"/>
            <p14:sldId id="10572"/>
            <p14:sldId id="10573"/>
            <p14:sldId id="10574"/>
            <p14:sldId id="10540"/>
            <p14:sldId id="10580"/>
          </p14:sldIdLst>
        </p14:section>
        <p14:section name="DEMO 10" id="{C12E384D-747C-4067-BFD2-67D100546F4E}">
          <p14:sldIdLst>
            <p14:sldId id="10542"/>
            <p14:sldId id="10543"/>
            <p14:sldId id="10581"/>
            <p14:sldId id="10582"/>
            <p14:sldId id="10583"/>
            <p14:sldId id="10584"/>
          </p14:sldIdLst>
        </p14:section>
        <p14:section name="END" id="{D63A5623-874A-4021-8463-B45A95150954}">
          <p14:sldIdLst>
            <p14:sldId id="936"/>
            <p14:sldId id="10587"/>
            <p14:sldId id="10588"/>
            <p14:sldId id="823"/>
            <p14:sldId id="824"/>
            <p14:sldId id="810"/>
            <p14:sldId id="10560"/>
            <p14:sldId id="512"/>
            <p14:sldId id="10561"/>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19" autoAdjust="0"/>
    <p:restoredTop sz="87818" autoAdjust="0"/>
  </p:normalViewPr>
  <p:slideViewPr>
    <p:cSldViewPr snapToGrid="0">
      <p:cViewPr varScale="1">
        <p:scale>
          <a:sx n="139" d="100"/>
          <a:sy n="139" d="100"/>
        </p:scale>
        <p:origin x="372"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99" Type="http://schemas.openxmlformats.org/officeDocument/2006/relationships/slide" Target="slides/slide296.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226" Type="http://schemas.openxmlformats.org/officeDocument/2006/relationships/slide" Target="slides/slide223.xml"/><Relationship Id="rId268" Type="http://schemas.openxmlformats.org/officeDocument/2006/relationships/slide" Target="slides/slide265.xml"/><Relationship Id="rId32" Type="http://schemas.openxmlformats.org/officeDocument/2006/relationships/slide" Target="slides/slide29.xml"/><Relationship Id="rId74" Type="http://schemas.openxmlformats.org/officeDocument/2006/relationships/slide" Target="slides/slide71.xml"/><Relationship Id="rId128" Type="http://schemas.openxmlformats.org/officeDocument/2006/relationships/slide" Target="slides/slide125.xml"/><Relationship Id="rId5" Type="http://schemas.openxmlformats.org/officeDocument/2006/relationships/slide" Target="slides/slide2.xml"/><Relationship Id="rId181" Type="http://schemas.openxmlformats.org/officeDocument/2006/relationships/slide" Target="slides/slide178.xml"/><Relationship Id="rId237" Type="http://schemas.openxmlformats.org/officeDocument/2006/relationships/slide" Target="slides/slide234.xml"/><Relationship Id="rId279" Type="http://schemas.openxmlformats.org/officeDocument/2006/relationships/slide" Target="slides/slide276.xml"/><Relationship Id="rId43" Type="http://schemas.openxmlformats.org/officeDocument/2006/relationships/slide" Target="slides/slide40.xml"/><Relationship Id="rId139" Type="http://schemas.openxmlformats.org/officeDocument/2006/relationships/slide" Target="slides/slide136.xml"/><Relationship Id="rId290" Type="http://schemas.openxmlformats.org/officeDocument/2006/relationships/slide" Target="slides/slide287.xml"/><Relationship Id="rId304" Type="http://schemas.openxmlformats.org/officeDocument/2006/relationships/slide" Target="slides/slide301.xml"/><Relationship Id="rId85" Type="http://schemas.openxmlformats.org/officeDocument/2006/relationships/slide" Target="slides/slide82.xml"/><Relationship Id="rId150" Type="http://schemas.openxmlformats.org/officeDocument/2006/relationships/slide" Target="slides/slide147.xml"/><Relationship Id="rId192" Type="http://schemas.openxmlformats.org/officeDocument/2006/relationships/slide" Target="slides/slide189.xml"/><Relationship Id="rId206" Type="http://schemas.openxmlformats.org/officeDocument/2006/relationships/slide" Target="slides/slide203.xml"/><Relationship Id="rId248" Type="http://schemas.openxmlformats.org/officeDocument/2006/relationships/slide" Target="slides/slide245.xml"/><Relationship Id="rId12" Type="http://schemas.openxmlformats.org/officeDocument/2006/relationships/slide" Target="slides/slide9.xml"/><Relationship Id="rId108" Type="http://schemas.openxmlformats.org/officeDocument/2006/relationships/slide" Target="slides/slide105.xml"/><Relationship Id="rId315" Type="http://schemas.openxmlformats.org/officeDocument/2006/relationships/handoutMaster" Target="handoutMasters/handoutMaster1.xml"/><Relationship Id="rId54" Type="http://schemas.openxmlformats.org/officeDocument/2006/relationships/slide" Target="slides/slide51.xml"/><Relationship Id="rId96" Type="http://schemas.openxmlformats.org/officeDocument/2006/relationships/slide" Target="slides/slide93.xml"/><Relationship Id="rId161" Type="http://schemas.openxmlformats.org/officeDocument/2006/relationships/slide" Target="slides/slide158.xml"/><Relationship Id="rId217" Type="http://schemas.openxmlformats.org/officeDocument/2006/relationships/slide" Target="slides/slide214.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65" Type="http://schemas.openxmlformats.org/officeDocument/2006/relationships/slide" Target="slides/slide62.xml"/><Relationship Id="rId130" Type="http://schemas.openxmlformats.org/officeDocument/2006/relationships/slide" Target="slides/slide127.xml"/><Relationship Id="rId172" Type="http://schemas.openxmlformats.org/officeDocument/2006/relationships/slide" Target="slides/slide169.xml"/><Relationship Id="rId228" Type="http://schemas.openxmlformats.org/officeDocument/2006/relationships/slide" Target="slides/slide225.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281" Type="http://schemas.openxmlformats.org/officeDocument/2006/relationships/slide" Target="slides/slide278.xml"/><Relationship Id="rId316" Type="http://schemas.openxmlformats.org/officeDocument/2006/relationships/commentAuthors" Target="commentAuthors.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slide" Target="slides/slide289.xml"/><Relationship Id="rId306" Type="http://schemas.openxmlformats.org/officeDocument/2006/relationships/slide" Target="slides/slide303.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slide" Target="slides/slide258.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282" Type="http://schemas.openxmlformats.org/officeDocument/2006/relationships/slide" Target="slides/slide279.xml"/><Relationship Id="rId317" Type="http://schemas.openxmlformats.org/officeDocument/2006/relationships/presProps" Target="presProps.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72" Type="http://schemas.openxmlformats.org/officeDocument/2006/relationships/slide" Target="slides/slide269.xml"/><Relationship Id="rId293" Type="http://schemas.openxmlformats.org/officeDocument/2006/relationships/slide" Target="slides/slide290.xml"/><Relationship Id="rId307" Type="http://schemas.openxmlformats.org/officeDocument/2006/relationships/slide" Target="slides/slide30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slide" Target="slides/slide259.xml"/><Relationship Id="rId283" Type="http://schemas.openxmlformats.org/officeDocument/2006/relationships/slide" Target="slides/slide280.xml"/><Relationship Id="rId318" Type="http://schemas.openxmlformats.org/officeDocument/2006/relationships/viewProps" Target="viewProps.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slide" Target="slides/slide291.xml"/><Relationship Id="rId308" Type="http://schemas.openxmlformats.org/officeDocument/2006/relationships/slide" Target="slides/slide305.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19" Type="http://schemas.openxmlformats.org/officeDocument/2006/relationships/theme" Target="theme/theme1.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slide" Target="slides/slide292.xml"/><Relationship Id="rId309" Type="http://schemas.openxmlformats.org/officeDocument/2006/relationships/slide" Target="slides/slide306.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320" Type="http://schemas.openxmlformats.org/officeDocument/2006/relationships/tableStyles" Target="tableStyles.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310" Type="http://schemas.openxmlformats.org/officeDocument/2006/relationships/slide" Target="slides/slide307.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slide" Target="slides/slide293.xml"/><Relationship Id="rId300" Type="http://schemas.openxmlformats.org/officeDocument/2006/relationships/slide" Target="slides/slide297.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311" Type="http://schemas.openxmlformats.org/officeDocument/2006/relationships/slide" Target="slides/slide308.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slide" Target="slides/slide294.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301" Type="http://schemas.openxmlformats.org/officeDocument/2006/relationships/slide" Target="slides/slide298.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266" Type="http://schemas.openxmlformats.org/officeDocument/2006/relationships/slide" Target="slides/slide263.xml"/><Relationship Id="rId287" Type="http://schemas.openxmlformats.org/officeDocument/2006/relationships/slide" Target="slides/slide284.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312" Type="http://schemas.openxmlformats.org/officeDocument/2006/relationships/slide" Target="slides/slide309.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slide" Target="slides/slide295.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302" Type="http://schemas.openxmlformats.org/officeDocument/2006/relationships/slide" Target="slides/slide299.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06" Type="http://schemas.openxmlformats.org/officeDocument/2006/relationships/slide" Target="slides/slide103.xml"/><Relationship Id="rId127" Type="http://schemas.openxmlformats.org/officeDocument/2006/relationships/slide" Target="slides/slide124.xml"/><Relationship Id="rId313" Type="http://schemas.openxmlformats.org/officeDocument/2006/relationships/slide" Target="slides/slide310.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303" Type="http://schemas.openxmlformats.org/officeDocument/2006/relationships/slide" Target="slides/slide300.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 Id="rId107" Type="http://schemas.openxmlformats.org/officeDocument/2006/relationships/slide" Target="slides/slide104.xml"/><Relationship Id="rId289" Type="http://schemas.openxmlformats.org/officeDocument/2006/relationships/slide" Target="slides/slide286.xml"/><Relationship Id="rId11" Type="http://schemas.openxmlformats.org/officeDocument/2006/relationships/slide" Target="slides/slide8.xml"/><Relationship Id="rId53" Type="http://schemas.openxmlformats.org/officeDocument/2006/relationships/slide" Target="slides/slide50.xml"/><Relationship Id="rId149" Type="http://schemas.openxmlformats.org/officeDocument/2006/relationships/slide" Target="slides/slide146.xml"/><Relationship Id="rId314" Type="http://schemas.openxmlformats.org/officeDocument/2006/relationships/notesMaster" Target="notesMasters/notesMaster1.xml"/><Relationship Id="rId95" Type="http://schemas.openxmlformats.org/officeDocument/2006/relationships/slide" Target="slides/slide92.xml"/><Relationship Id="rId160" Type="http://schemas.openxmlformats.org/officeDocument/2006/relationships/slide" Target="slides/slide157.xml"/><Relationship Id="rId216" Type="http://schemas.openxmlformats.org/officeDocument/2006/relationships/slide" Target="slides/slide213.xml"/><Relationship Id="rId258" Type="http://schemas.openxmlformats.org/officeDocument/2006/relationships/slide" Target="slides/slide255.xml"/><Relationship Id="rId22" Type="http://schemas.openxmlformats.org/officeDocument/2006/relationships/slide" Target="slides/slide19.xml"/><Relationship Id="rId64" Type="http://schemas.openxmlformats.org/officeDocument/2006/relationships/slide" Target="slides/slide61.xml"/><Relationship Id="rId118" Type="http://schemas.openxmlformats.org/officeDocument/2006/relationships/slide" Target="slides/slide115.xml"/><Relationship Id="rId171" Type="http://schemas.openxmlformats.org/officeDocument/2006/relationships/slide" Target="slides/slide168.xml"/><Relationship Id="rId227" Type="http://schemas.openxmlformats.org/officeDocument/2006/relationships/slide" Target="slides/slide224.xml"/><Relationship Id="rId269" Type="http://schemas.openxmlformats.org/officeDocument/2006/relationships/slide" Target="slides/slide266.xml"/><Relationship Id="rId33" Type="http://schemas.openxmlformats.org/officeDocument/2006/relationships/slide" Target="slides/slide30.xml"/><Relationship Id="rId129" Type="http://schemas.openxmlformats.org/officeDocument/2006/relationships/slide" Target="slides/slide126.xml"/><Relationship Id="rId280" Type="http://schemas.openxmlformats.org/officeDocument/2006/relationships/slide" Target="slides/slide277.xml"/><Relationship Id="rId75" Type="http://schemas.openxmlformats.org/officeDocument/2006/relationships/slide" Target="slides/slide72.xml"/><Relationship Id="rId140" Type="http://schemas.openxmlformats.org/officeDocument/2006/relationships/slide" Target="slides/slide137.xml"/><Relationship Id="rId182" Type="http://schemas.openxmlformats.org/officeDocument/2006/relationships/slide" Target="slides/slide179.xml"/><Relationship Id="rId6" Type="http://schemas.openxmlformats.org/officeDocument/2006/relationships/slide" Target="slides/slide3.xml"/><Relationship Id="rId238" Type="http://schemas.openxmlformats.org/officeDocument/2006/relationships/slide" Target="slides/slide235.xml"/><Relationship Id="rId291" Type="http://schemas.openxmlformats.org/officeDocument/2006/relationships/slide" Target="slides/slide288.xml"/><Relationship Id="rId305" Type="http://schemas.openxmlformats.org/officeDocument/2006/relationships/slide" Target="slides/slide302.xml"/><Relationship Id="rId44" Type="http://schemas.openxmlformats.org/officeDocument/2006/relationships/slide" Target="slides/slide41.xml"/><Relationship Id="rId86" Type="http://schemas.openxmlformats.org/officeDocument/2006/relationships/slide" Target="slides/slide83.xml"/><Relationship Id="rId151" Type="http://schemas.openxmlformats.org/officeDocument/2006/relationships/slide" Target="slides/slide148.xml"/><Relationship Id="rId193" Type="http://schemas.openxmlformats.org/officeDocument/2006/relationships/slide" Target="slides/slide190.xml"/><Relationship Id="rId207" Type="http://schemas.openxmlformats.org/officeDocument/2006/relationships/slide" Target="slides/slide204.xml"/><Relationship Id="rId249" Type="http://schemas.openxmlformats.org/officeDocument/2006/relationships/slide" Target="slides/slide24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30/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1.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96.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59.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10: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10: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14574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344410"/>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1082227"/>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4420670"/>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1008797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247023"/>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9840835"/>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7337747"/>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985274"/>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6175052"/>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79950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2:0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3176388"/>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6592190"/>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316783"/>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014759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919593"/>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34704"/>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965306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296</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6035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10: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10: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3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3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3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3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3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1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20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2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6512"/>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30/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4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5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6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9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4.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3.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4.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6.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7.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8.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10.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1.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2.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5.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6.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7.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8.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9.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20.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1.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2.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40.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9.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6.xml"/><Relationship Id="rId1" Type="http://schemas.openxmlformats.org/officeDocument/2006/relationships/slideLayout" Target="../slideLayouts/slideLayout18.xml"/><Relationship Id="rId4" Type="http://schemas.openxmlformats.org/officeDocument/2006/relationships/image" Target="../media/image317.png"/></Relationships>
</file>

<file path=ppt/slides/_rels/slide25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7.xml"/><Relationship Id="rId1" Type="http://schemas.openxmlformats.org/officeDocument/2006/relationships/slideLayout" Target="../slideLayouts/slideLayout18.xml"/></Relationships>
</file>

<file path=ppt/slides/_rels/slide252.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8.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4.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57.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34.xml"/><Relationship Id="rId1" Type="http://schemas.openxmlformats.org/officeDocument/2006/relationships/slideLayout" Target="../slideLayouts/slideLayout18.xml"/><Relationship Id="rId4" Type="http://schemas.openxmlformats.org/officeDocument/2006/relationships/image" Target="../media/image325.png"/></Relationships>
</file>

<file path=ppt/slides/_rels/slide262.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3.xml.rels><?xml version="1.0" encoding="UTF-8" standalone="yes"?>
<Relationships xmlns="http://schemas.openxmlformats.org/package/2006/relationships"><Relationship Id="rId3" Type="http://schemas.openxmlformats.org/officeDocument/2006/relationships/image" Target="../media/image327.png"/><Relationship Id="rId7" Type="http://schemas.openxmlformats.org/officeDocument/2006/relationships/image" Target="../media/image331.png"/><Relationship Id="rId2" Type="http://schemas.openxmlformats.org/officeDocument/2006/relationships/notesSlide" Target="../notesSlides/notesSlide236.xml"/><Relationship Id="rId1" Type="http://schemas.openxmlformats.org/officeDocument/2006/relationships/slideLayout" Target="../slideLayouts/slideLayout18.xml"/><Relationship Id="rId6" Type="http://schemas.openxmlformats.org/officeDocument/2006/relationships/image" Target="../media/image330.png"/><Relationship Id="rId5" Type="http://schemas.openxmlformats.org/officeDocument/2006/relationships/image" Target="../media/image329.png"/><Relationship Id="rId4" Type="http://schemas.openxmlformats.org/officeDocument/2006/relationships/image" Target="../media/image328.png"/></Relationships>
</file>

<file path=ppt/slides/_rels/slide264.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notesSlide" Target="../notesSlides/notesSlide237.xml"/><Relationship Id="rId1" Type="http://schemas.openxmlformats.org/officeDocument/2006/relationships/slideLayout" Target="../slideLayouts/slideLayout18.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333.png"/></Relationships>
</file>

<file path=ppt/slides/_rels/slide265.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238.xml"/><Relationship Id="rId1" Type="http://schemas.openxmlformats.org/officeDocument/2006/relationships/slideLayout" Target="../slideLayouts/slideLayout18.xml"/><Relationship Id="rId6" Type="http://schemas.openxmlformats.org/officeDocument/2006/relationships/image" Target="../media/image337.png"/><Relationship Id="rId5" Type="http://schemas.openxmlformats.org/officeDocument/2006/relationships/image" Target="../media/image336.png"/><Relationship Id="rId4" Type="http://schemas.openxmlformats.org/officeDocument/2006/relationships/image" Target="../media/image335.png"/></Relationships>
</file>

<file path=ppt/slides/_rels/slide266.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notesSlide" Target="../notesSlides/notesSlide239.xml"/><Relationship Id="rId1" Type="http://schemas.openxmlformats.org/officeDocument/2006/relationships/slideLayout" Target="../slideLayouts/slideLayout18.xml"/></Relationships>
</file>

<file path=ppt/slides/_rels/slide267.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240.xml"/><Relationship Id="rId1" Type="http://schemas.openxmlformats.org/officeDocument/2006/relationships/slideLayout" Target="../slideLayouts/slideLayout18.xml"/></Relationships>
</file>

<file path=ppt/slides/_rels/slide268.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241.xml"/><Relationship Id="rId1" Type="http://schemas.openxmlformats.org/officeDocument/2006/relationships/slideLayout" Target="../slideLayouts/slideLayout18.xml"/></Relationships>
</file>

<file path=ppt/slides/_rels/slide269.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24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70.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243.xml"/><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44.xml"/><Relationship Id="rId1" Type="http://schemas.openxmlformats.org/officeDocument/2006/relationships/slideLayout" Target="../slideLayouts/slideLayout18.xml"/></Relationships>
</file>

<file path=ppt/slides/_rels/slide272.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45.xml"/><Relationship Id="rId1" Type="http://schemas.openxmlformats.org/officeDocument/2006/relationships/slideLayout" Target="../slideLayouts/slideLayout18.xml"/></Relationships>
</file>

<file path=ppt/slides/_rels/slide273.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246.xml"/><Relationship Id="rId1" Type="http://schemas.openxmlformats.org/officeDocument/2006/relationships/slideLayout" Target="../slideLayouts/slideLayout18.xml"/></Relationships>
</file>

<file path=ppt/slides/_rels/slide274.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47.xml"/><Relationship Id="rId1" Type="http://schemas.openxmlformats.org/officeDocument/2006/relationships/slideLayout" Target="../slideLayouts/slideLayout18.xml"/></Relationships>
</file>

<file path=ppt/slides/_rels/slide275.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248.xml"/><Relationship Id="rId1" Type="http://schemas.openxmlformats.org/officeDocument/2006/relationships/slideLayout" Target="../slideLayouts/slideLayout18.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7.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249.xml"/><Relationship Id="rId1" Type="http://schemas.openxmlformats.org/officeDocument/2006/relationships/slideLayout" Target="../slideLayouts/slideLayout18.xml"/></Relationships>
</file>

<file path=ppt/slides/_rels/slide278.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250.xml"/><Relationship Id="rId1" Type="http://schemas.openxmlformats.org/officeDocument/2006/relationships/slideLayout" Target="../slideLayouts/slideLayout18.xml"/></Relationships>
</file>

<file path=ppt/slides/_rels/slide279.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251.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252.xml"/><Relationship Id="rId1" Type="http://schemas.openxmlformats.org/officeDocument/2006/relationships/slideLayout" Target="../slideLayouts/slideLayout18.xml"/></Relationships>
</file>

<file path=ppt/slides/_rels/slide281.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253.xml"/><Relationship Id="rId1" Type="http://schemas.openxmlformats.org/officeDocument/2006/relationships/slideLayout" Target="../slideLayouts/slideLayout18.xml"/></Relationships>
</file>

<file path=ppt/slides/_rels/slide282.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54.xml"/><Relationship Id="rId1" Type="http://schemas.openxmlformats.org/officeDocument/2006/relationships/slideLayout" Target="../slideLayouts/slideLayout18.xml"/></Relationships>
</file>

<file path=ppt/slides/_rels/slide283.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55.xml"/><Relationship Id="rId1" Type="http://schemas.openxmlformats.org/officeDocument/2006/relationships/slideLayout" Target="../slideLayouts/slideLayout18.xml"/></Relationships>
</file>

<file path=ppt/slides/_rels/slide284.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256.xml"/><Relationship Id="rId1" Type="http://schemas.openxmlformats.org/officeDocument/2006/relationships/slideLayout" Target="../slideLayouts/slideLayout18.xml"/></Relationships>
</file>

<file path=ppt/slides/_rels/slide285.xml.rels><?xml version="1.0" encoding="UTF-8" standalone="yes"?>
<Relationships xmlns="http://schemas.openxmlformats.org/package/2006/relationships"><Relationship Id="rId2" Type="http://schemas.openxmlformats.org/officeDocument/2006/relationships/image" Target="../media/image356.png"/><Relationship Id="rId1" Type="http://schemas.openxmlformats.org/officeDocument/2006/relationships/slideLayout" Target="../slideLayouts/slideLayout18.xml"/></Relationships>
</file>

<file path=ppt/slides/_rels/slide286.xml.rels><?xml version="1.0" encoding="UTF-8" standalone="yes"?>
<Relationships xmlns="http://schemas.openxmlformats.org/package/2006/relationships"><Relationship Id="rId2" Type="http://schemas.openxmlformats.org/officeDocument/2006/relationships/image" Target="../media/image357.png"/><Relationship Id="rId1" Type="http://schemas.openxmlformats.org/officeDocument/2006/relationships/slideLayout" Target="../slideLayouts/slideLayout18.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3.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257.xml"/><Relationship Id="rId1" Type="http://schemas.openxmlformats.org/officeDocument/2006/relationships/slideLayout" Target="../slideLayouts/slideLayout29.xml"/><Relationship Id="rId4" Type="http://schemas.openxmlformats.org/officeDocument/2006/relationships/image" Target="../media/image359.png"/></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6.xml.rels><?xml version="1.0" encoding="UTF-8" standalone="yes"?>
<Relationships xmlns="http://schemas.openxmlformats.org/package/2006/relationships"><Relationship Id="rId3" Type="http://schemas.openxmlformats.org/officeDocument/2006/relationships/hyperlink" Target="https://docs.microsoft.com/learn/browse/?products=power-platform" TargetMode="External"/><Relationship Id="rId7" Type="http://schemas.openxmlformats.org/officeDocument/2006/relationships/hyperlink" Target="https://youtu.be/rcrubFa8758" TargetMode="External"/><Relationship Id="rId2" Type="http://schemas.openxmlformats.org/officeDocument/2006/relationships/notesSlide" Target="../notesSlides/notesSlide258.xml"/><Relationship Id="rId1" Type="http://schemas.openxmlformats.org/officeDocument/2006/relationships/slideLayout" Target="../slideLayouts/slideLayout8.xml"/><Relationship Id="rId6" Type="http://schemas.openxmlformats.org/officeDocument/2006/relationships/hyperlink" Target="https://docs.microsoft.com/powerapps/maker/canvas-apps/add-scrolling-screen" TargetMode="External"/><Relationship Id="rId5" Type="http://schemas.openxmlformats.org/officeDocument/2006/relationships/hyperlink" Target="https://youtu.be/swpjfIyXCNA" TargetMode="External"/><Relationship Id="rId4" Type="http://schemas.openxmlformats.org/officeDocument/2006/relationships/hyperlink" Target="https://docs.microsoft.com/power-platform/admin/pricing-billing-skus" TargetMode="External"/></Relationships>
</file>

<file path=ppt/slides/_rels/slide297.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298.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259.xml"/><Relationship Id="rId1" Type="http://schemas.openxmlformats.org/officeDocument/2006/relationships/slideLayout" Target="../slideLayouts/slideLayout29.xml"/><Relationship Id="rId4" Type="http://schemas.openxmlformats.org/officeDocument/2006/relationships/image" Target="../media/image360.png"/></Relationships>
</file>

<file path=ppt/slides/_rels/slide29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60.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fleitasarts.com/" TargetMode="External"/><Relationship Id="rId3" Type="http://schemas.microsoft.com/office/2007/relationships/hdphoto" Target="../media/hdphoto3.wdp"/><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image" Target="../media/image361.png"/><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hyperlink" Target="https://twitter.com/hiramfleitas" TargetMode="External"/><Relationship Id="rId11" Type="http://schemas.openxmlformats.org/officeDocument/2006/relationships/hyperlink" Target="https://github.com/hfleitas" TargetMode="External"/><Relationship Id="rId5" Type="http://schemas.microsoft.com/office/2007/relationships/hdphoto" Target="../media/hdphoto2.wdp"/><Relationship Id="rId15" Type="http://schemas.openxmlformats.org/officeDocument/2006/relationships/hyperlink" Target="mailto:hiram@fleitasarts.com?subject=Power%20Platform%20-%20Game%20Changer" TargetMode="External"/><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hyperlink" Target="https://linkedin.com/in/hiramfleitas" TargetMode="Externa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Tree>
    <p:extLst>
      <p:ext uri="{BB962C8B-B14F-4D97-AF65-F5344CB8AC3E}">
        <p14:creationId xmlns:p14="http://schemas.microsoft.com/office/powerpoint/2010/main" val="487315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9CD10FE6-1C7D-4278-8913-7D135904D1F0}"/>
              </a:ext>
            </a:extLst>
          </p:cNvPr>
          <p:cNvSpPr/>
          <p:nvPr/>
        </p:nvSpPr>
        <p:spPr>
          <a:xfrm>
            <a:off x="1354412" y="2358189"/>
            <a:ext cx="1574418" cy="12375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1370557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DE45259F-CAD8-4395-919B-E69629565866}"/>
              </a:ext>
            </a:extLst>
          </p:cNvPr>
          <p:cNvSpPr/>
          <p:nvPr/>
        </p:nvSpPr>
        <p:spPr>
          <a:xfrm>
            <a:off x="0" y="2495693"/>
            <a:ext cx="1203158" cy="7700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FB8258EA-3A06-4164-9FEB-DE9538F3EE38}"/>
              </a:ext>
            </a:extLst>
          </p:cNvPr>
          <p:cNvSpPr/>
          <p:nvPr/>
        </p:nvSpPr>
        <p:spPr>
          <a:xfrm>
            <a:off x="2613717" y="3829480"/>
            <a:ext cx="1203158" cy="3987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585535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
        <p:nvSpPr>
          <p:cNvPr id="4" name="Rectangle 3">
            <a:extLst>
              <a:ext uri="{FF2B5EF4-FFF2-40B4-BE49-F238E27FC236}">
                <a16:creationId xmlns:a16="http://schemas.microsoft.com/office/drawing/2014/main" id="{1D842B3C-4D07-4EEB-9C86-40FE81916F62}"/>
              </a:ext>
            </a:extLst>
          </p:cNvPr>
          <p:cNvSpPr/>
          <p:nvPr/>
        </p:nvSpPr>
        <p:spPr>
          <a:xfrm>
            <a:off x="6668932" y="1443789"/>
            <a:ext cx="1210033" cy="247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0FECAC02-0D17-43CF-BF39-5F9F5D845711}"/>
              </a:ext>
            </a:extLst>
          </p:cNvPr>
          <p:cNvSpPr/>
          <p:nvPr/>
        </p:nvSpPr>
        <p:spPr>
          <a:xfrm>
            <a:off x="385010" y="2447996"/>
            <a:ext cx="1113781"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48BCD8A-D9FB-4D47-B689-2F89C131D8D1}"/>
              </a:ext>
            </a:extLst>
          </p:cNvPr>
          <p:cNvSpPr/>
          <p:nvPr/>
        </p:nvSpPr>
        <p:spPr>
          <a:xfrm>
            <a:off x="385011" y="2806221"/>
            <a:ext cx="1113780" cy="227497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0545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C0F66F-CD38-4FBE-84A0-97209295B623}"/>
              </a:ext>
            </a:extLst>
          </p:cNvPr>
          <p:cNvPicPr>
            <a:picLocks noChangeAspect="1"/>
          </p:cNvPicPr>
          <p:nvPr/>
        </p:nvPicPr>
        <p:blipFill>
          <a:blip r:embed="rId3"/>
          <a:stretch>
            <a:fillRect/>
          </a:stretch>
        </p:blipFill>
        <p:spPr>
          <a:xfrm>
            <a:off x="2946" y="0"/>
            <a:ext cx="9138108" cy="5143500"/>
          </a:xfrm>
          <a:prstGeom prst="rect">
            <a:avLst/>
          </a:prstGeom>
        </p:spPr>
      </p:pic>
      <p:pic>
        <p:nvPicPr>
          <p:cNvPr id="5" name="Picture 4">
            <a:extLst>
              <a:ext uri="{FF2B5EF4-FFF2-40B4-BE49-F238E27FC236}">
                <a16:creationId xmlns:a16="http://schemas.microsoft.com/office/drawing/2014/main" id="{B9FC7015-F494-4AB6-9C2B-87619D1ADA30}"/>
              </a:ext>
            </a:extLst>
          </p:cNvPr>
          <p:cNvPicPr>
            <a:picLocks noChangeAspect="1"/>
          </p:cNvPicPr>
          <p:nvPr/>
        </p:nvPicPr>
        <p:blipFill>
          <a:blip r:embed="rId4"/>
          <a:stretch>
            <a:fillRect/>
          </a:stretch>
        </p:blipFill>
        <p:spPr>
          <a:xfrm>
            <a:off x="3504134" y="970511"/>
            <a:ext cx="3948569" cy="3367733"/>
          </a:xfrm>
          <a:prstGeom prst="rect">
            <a:avLst/>
          </a:prstGeom>
        </p:spPr>
      </p:pic>
    </p:spTree>
    <p:extLst>
      <p:ext uri="{BB962C8B-B14F-4D97-AF65-F5344CB8AC3E}">
        <p14:creationId xmlns:p14="http://schemas.microsoft.com/office/powerpoint/2010/main" val="3789682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835884-2F8C-4335-B531-7F3B4BAC6197}"/>
              </a:ext>
            </a:extLst>
          </p:cNvPr>
          <p:cNvPicPr>
            <a:picLocks noChangeAspect="1"/>
          </p:cNvPicPr>
          <p:nvPr/>
        </p:nvPicPr>
        <p:blipFill>
          <a:blip r:embed="rId3"/>
          <a:stretch>
            <a:fillRect/>
          </a:stretch>
        </p:blipFill>
        <p:spPr>
          <a:xfrm>
            <a:off x="0" y="7799"/>
            <a:ext cx="9144000" cy="5127901"/>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058742" y="158557"/>
            <a:ext cx="453763"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1F52D82B-D709-42F1-ADFC-39E5D3288BDF}"/>
              </a:ext>
            </a:extLst>
          </p:cNvPr>
          <p:cNvSpPr/>
          <p:nvPr/>
        </p:nvSpPr>
        <p:spPr>
          <a:xfrm>
            <a:off x="4281488" y="295275"/>
            <a:ext cx="633412" cy="947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06687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F27766-72C1-416A-AEE2-2BCD543873F6}"/>
              </a:ext>
            </a:extLst>
          </p:cNvPr>
          <p:cNvPicPr>
            <a:picLocks noChangeAspect="1"/>
          </p:cNvPicPr>
          <p:nvPr/>
        </p:nvPicPr>
        <p:blipFill>
          <a:blip r:embed="rId3"/>
          <a:stretch>
            <a:fillRect/>
          </a:stretch>
        </p:blipFill>
        <p:spPr>
          <a:xfrm>
            <a:off x="0" y="7799"/>
            <a:ext cx="9144000" cy="5127901"/>
          </a:xfrm>
          <a:prstGeom prst="rect">
            <a:avLst/>
          </a:prstGeom>
        </p:spPr>
      </p:pic>
      <p:pic>
        <p:nvPicPr>
          <p:cNvPr id="3" name="Picture 2">
            <a:extLst>
              <a:ext uri="{FF2B5EF4-FFF2-40B4-BE49-F238E27FC236}">
                <a16:creationId xmlns:a16="http://schemas.microsoft.com/office/drawing/2014/main" id="{268458F4-2F15-42D2-AB71-E3C0AF7790C1}"/>
              </a:ext>
            </a:extLst>
          </p:cNvPr>
          <p:cNvPicPr>
            <a:picLocks noChangeAspect="1"/>
          </p:cNvPicPr>
          <p:nvPr/>
        </p:nvPicPr>
        <p:blipFill>
          <a:blip r:embed="rId4"/>
          <a:stretch>
            <a:fillRect/>
          </a:stretch>
        </p:blipFill>
        <p:spPr>
          <a:xfrm>
            <a:off x="1784111" y="897254"/>
            <a:ext cx="5575778" cy="3348992"/>
          </a:xfrm>
          <a:prstGeom prst="rect">
            <a:avLst/>
          </a:prstGeom>
        </p:spPr>
      </p:pic>
      <p:pic>
        <p:nvPicPr>
          <p:cNvPr id="4" name="Picture 3">
            <a:extLst>
              <a:ext uri="{FF2B5EF4-FFF2-40B4-BE49-F238E27FC236}">
                <a16:creationId xmlns:a16="http://schemas.microsoft.com/office/drawing/2014/main" id="{4AFD6C4A-325A-4242-9352-A8657000E4A8}"/>
              </a:ext>
            </a:extLst>
          </p:cNvPr>
          <p:cNvPicPr>
            <a:picLocks noChangeAspect="1"/>
          </p:cNvPicPr>
          <p:nvPr/>
        </p:nvPicPr>
        <p:blipFill>
          <a:blip r:embed="rId5"/>
          <a:stretch>
            <a:fillRect/>
          </a:stretch>
        </p:blipFill>
        <p:spPr>
          <a:xfrm>
            <a:off x="1784111" y="897254"/>
            <a:ext cx="5575778" cy="3348992"/>
          </a:xfrm>
          <a:prstGeom prst="rect">
            <a:avLst/>
          </a:prstGeom>
        </p:spPr>
      </p:pic>
      <p:pic>
        <p:nvPicPr>
          <p:cNvPr id="5" name="Picture 4">
            <a:extLst>
              <a:ext uri="{FF2B5EF4-FFF2-40B4-BE49-F238E27FC236}">
                <a16:creationId xmlns:a16="http://schemas.microsoft.com/office/drawing/2014/main" id="{28A8A5E7-D560-4907-8201-C2DF271B0269}"/>
              </a:ext>
            </a:extLst>
          </p:cNvPr>
          <p:cNvPicPr>
            <a:picLocks noChangeAspect="1"/>
          </p:cNvPicPr>
          <p:nvPr/>
        </p:nvPicPr>
        <p:blipFill>
          <a:blip r:embed="rId6"/>
          <a:stretch>
            <a:fillRect/>
          </a:stretch>
        </p:blipFill>
        <p:spPr>
          <a:xfrm>
            <a:off x="1784111" y="897254"/>
            <a:ext cx="5575778" cy="3348992"/>
          </a:xfrm>
          <a:prstGeom prst="rect">
            <a:avLst/>
          </a:prstGeom>
        </p:spPr>
      </p:pic>
      <p:pic>
        <p:nvPicPr>
          <p:cNvPr id="6" name="Picture 5">
            <a:extLst>
              <a:ext uri="{FF2B5EF4-FFF2-40B4-BE49-F238E27FC236}">
                <a16:creationId xmlns:a16="http://schemas.microsoft.com/office/drawing/2014/main" id="{8272DB28-66D8-4A0D-BEEB-160463DD83C8}"/>
              </a:ext>
            </a:extLst>
          </p:cNvPr>
          <p:cNvPicPr>
            <a:picLocks noChangeAspect="1"/>
          </p:cNvPicPr>
          <p:nvPr/>
        </p:nvPicPr>
        <p:blipFill>
          <a:blip r:embed="rId7"/>
          <a:stretch>
            <a:fillRect/>
          </a:stretch>
        </p:blipFill>
        <p:spPr>
          <a:xfrm>
            <a:off x="1784111" y="897254"/>
            <a:ext cx="5575778" cy="3348992"/>
          </a:xfrm>
          <a:prstGeom prst="rect">
            <a:avLst/>
          </a:prstGeom>
        </p:spPr>
      </p:pic>
    </p:spTree>
    <p:extLst>
      <p:ext uri="{BB962C8B-B14F-4D97-AF65-F5344CB8AC3E}">
        <p14:creationId xmlns:p14="http://schemas.microsoft.com/office/powerpoint/2010/main" val="254309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749"/>
                                          </p:stCondLst>
                                        </p:cTn>
                                        <p:tgtEl>
                                          <p:spTgt spid="4"/>
                                        </p:tgtEl>
                                        <p:attrNameLst>
                                          <p:attrName>style.visibility</p:attrName>
                                        </p:attrNameLst>
                                      </p:cBhvr>
                                      <p:to>
                                        <p:strVal val="visible"/>
                                      </p:to>
                                    </p:set>
                                  </p:childTnLst>
                                </p:cTn>
                              </p:par>
                            </p:childTnLst>
                          </p:cTn>
                        </p:par>
                        <p:par>
                          <p:cTn id="11" fill="hold">
                            <p:stCondLst>
                              <p:cond delay="1250"/>
                            </p:stCondLst>
                            <p:childTnLst>
                              <p:par>
                                <p:cTn id="12" presetID="1" presetClass="entr" presetSubtype="0" fill="hold" nodeType="afterEffect">
                                  <p:stCondLst>
                                    <p:cond delay="0"/>
                                  </p:stCondLst>
                                  <p:childTnLst>
                                    <p:set>
                                      <p:cBhvr>
                                        <p:cTn id="13" dur="1" fill="hold">
                                          <p:stCondLst>
                                            <p:cond delay="749"/>
                                          </p:stCondLst>
                                        </p:cTn>
                                        <p:tgtEl>
                                          <p:spTgt spid="5"/>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nodeType="afterEffect">
                                  <p:stCondLst>
                                    <p:cond delay="0"/>
                                  </p:stCondLst>
                                  <p:childTnLst>
                                    <p:set>
                                      <p:cBhvr>
                                        <p:cTn id="16" dur="1" fill="hold">
                                          <p:stCondLst>
                                            <p:cond delay="74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EDECC3-B3E1-484A-A4EA-8B0221BF4470}"/>
              </a:ext>
            </a:extLst>
          </p:cNvPr>
          <p:cNvPicPr>
            <a:picLocks noChangeAspect="1"/>
          </p:cNvPicPr>
          <p:nvPr/>
        </p:nvPicPr>
        <p:blipFill>
          <a:blip r:embed="rId3"/>
          <a:stretch>
            <a:fillRect/>
          </a:stretch>
        </p:blipFill>
        <p:spPr>
          <a:xfrm>
            <a:off x="0" y="0"/>
            <a:ext cx="9139423" cy="5143500"/>
          </a:xfrm>
          <a:prstGeom prst="rect">
            <a:avLst/>
          </a:prstGeom>
        </p:spPr>
      </p:pic>
      <p:pic>
        <p:nvPicPr>
          <p:cNvPr id="4" name="Picture 3">
            <a:extLst>
              <a:ext uri="{FF2B5EF4-FFF2-40B4-BE49-F238E27FC236}">
                <a16:creationId xmlns:a16="http://schemas.microsoft.com/office/drawing/2014/main" id="{B554D78E-D53C-4450-A39D-BDD147982DA2}"/>
              </a:ext>
            </a:extLst>
          </p:cNvPr>
          <p:cNvPicPr>
            <a:picLocks noChangeAspect="1"/>
          </p:cNvPicPr>
          <p:nvPr/>
        </p:nvPicPr>
        <p:blipFill rotWithShape="1">
          <a:blip r:embed="rId4"/>
          <a:srcRect l="47517" t="31545" r="37212" b="20869"/>
          <a:stretch/>
        </p:blipFill>
        <p:spPr>
          <a:xfrm>
            <a:off x="4345118" y="1622544"/>
            <a:ext cx="1395663" cy="2447567"/>
          </a:xfrm>
          <a:prstGeom prst="rect">
            <a:avLst/>
          </a:prstGeom>
        </p:spPr>
      </p:pic>
      <p:pic>
        <p:nvPicPr>
          <p:cNvPr id="9" name="Graphic 8" descr="Line Arrow: Clockwise curve">
            <a:extLst>
              <a:ext uri="{FF2B5EF4-FFF2-40B4-BE49-F238E27FC236}">
                <a16:creationId xmlns:a16="http://schemas.microsoft.com/office/drawing/2014/main" id="{DF7FEEA1-7C77-406B-9B49-C0E54AACB6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V="1">
            <a:off x="3883911" y="2640545"/>
            <a:ext cx="685800" cy="685800"/>
          </a:xfrm>
          <a:prstGeom prst="rect">
            <a:avLst/>
          </a:prstGeom>
        </p:spPr>
      </p:pic>
      <p:pic>
        <p:nvPicPr>
          <p:cNvPr id="10" name="Graphic 9" descr="Line Arrow: Clockwise curve">
            <a:extLst>
              <a:ext uri="{FF2B5EF4-FFF2-40B4-BE49-F238E27FC236}">
                <a16:creationId xmlns:a16="http://schemas.microsoft.com/office/drawing/2014/main" id="{4A79CBE9-233E-432D-BAB1-571BBA32B0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720455" y="2160527"/>
            <a:ext cx="685800" cy="685800"/>
          </a:xfrm>
          <a:prstGeom prst="rect">
            <a:avLst/>
          </a:prstGeom>
        </p:spPr>
      </p:pic>
      <p:pic>
        <p:nvPicPr>
          <p:cNvPr id="12" name="Graphic 11" descr="Line Arrow: Clockwise curve">
            <a:extLst>
              <a:ext uri="{FF2B5EF4-FFF2-40B4-BE49-F238E27FC236}">
                <a16:creationId xmlns:a16="http://schemas.microsoft.com/office/drawing/2014/main" id="{4BE560DA-52A3-4F6A-967C-6B3DC762D8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5583232" y="3275453"/>
            <a:ext cx="685800" cy="685800"/>
          </a:xfrm>
          <a:prstGeom prst="rect">
            <a:avLst/>
          </a:prstGeom>
        </p:spPr>
      </p:pic>
      <p:pic>
        <p:nvPicPr>
          <p:cNvPr id="13" name="Graphic 12" descr="Line Arrow: Clockwise curve">
            <a:extLst>
              <a:ext uri="{FF2B5EF4-FFF2-40B4-BE49-F238E27FC236}">
                <a16:creationId xmlns:a16="http://schemas.microsoft.com/office/drawing/2014/main" id="{2DCB9AB6-36E0-43EB-8B03-AC23F8F1EC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3198111" y="823391"/>
            <a:ext cx="685800" cy="685800"/>
          </a:xfrm>
          <a:prstGeom prst="rect">
            <a:avLst/>
          </a:prstGeom>
        </p:spPr>
      </p:pic>
    </p:spTree>
    <p:extLst>
      <p:ext uri="{BB962C8B-B14F-4D97-AF65-F5344CB8AC3E}">
        <p14:creationId xmlns:p14="http://schemas.microsoft.com/office/powerpoint/2010/main" val="2716831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F73AB-B8CF-4B3E-9195-FF57200C5FDB}"/>
              </a:ext>
            </a:extLst>
          </p:cNvPr>
          <p:cNvPicPr>
            <a:picLocks noChangeAspect="1"/>
          </p:cNvPicPr>
          <p:nvPr/>
        </p:nvPicPr>
        <p:blipFill>
          <a:blip r:embed="rId3"/>
          <a:stretch>
            <a:fillRect/>
          </a:stretch>
        </p:blipFill>
        <p:spPr>
          <a:xfrm>
            <a:off x="2288" y="0"/>
            <a:ext cx="9139423" cy="5143500"/>
          </a:xfrm>
          <a:prstGeom prst="rect">
            <a:avLst/>
          </a:prstGeom>
        </p:spPr>
      </p:pic>
      <p:pic>
        <p:nvPicPr>
          <p:cNvPr id="3" name="Picture 2">
            <a:extLst>
              <a:ext uri="{FF2B5EF4-FFF2-40B4-BE49-F238E27FC236}">
                <a16:creationId xmlns:a16="http://schemas.microsoft.com/office/drawing/2014/main" id="{8AD9BACD-326A-4ABE-9E32-3C67427BB2DB}"/>
              </a:ext>
            </a:extLst>
          </p:cNvPr>
          <p:cNvPicPr>
            <a:picLocks noChangeAspect="1"/>
          </p:cNvPicPr>
          <p:nvPr/>
        </p:nvPicPr>
        <p:blipFill rotWithShape="1">
          <a:blip r:embed="rId4"/>
          <a:srcRect l="15190" t="16162" r="43608" b="50000"/>
          <a:stretch/>
        </p:blipFill>
        <p:spPr>
          <a:xfrm>
            <a:off x="1388225" y="831273"/>
            <a:ext cx="3765666" cy="1740478"/>
          </a:xfrm>
          <a:prstGeom prst="rect">
            <a:avLst/>
          </a:prstGeom>
        </p:spPr>
      </p:pic>
      <p:pic>
        <p:nvPicPr>
          <p:cNvPr id="4" name="Picture 3">
            <a:extLst>
              <a:ext uri="{FF2B5EF4-FFF2-40B4-BE49-F238E27FC236}">
                <a16:creationId xmlns:a16="http://schemas.microsoft.com/office/drawing/2014/main" id="{37B3A68B-CF23-43A6-8A3A-C7BD9E2FEF68}"/>
              </a:ext>
            </a:extLst>
          </p:cNvPr>
          <p:cNvPicPr>
            <a:picLocks noChangeAspect="1"/>
          </p:cNvPicPr>
          <p:nvPr/>
        </p:nvPicPr>
        <p:blipFill rotWithShape="1">
          <a:blip r:embed="rId5"/>
          <a:srcRect l="15190" t="16162" r="43608" b="50000"/>
          <a:stretch/>
        </p:blipFill>
        <p:spPr>
          <a:xfrm>
            <a:off x="1388225" y="831273"/>
            <a:ext cx="3765666" cy="1740478"/>
          </a:xfrm>
          <a:prstGeom prst="rect">
            <a:avLst/>
          </a:prstGeom>
        </p:spPr>
      </p:pic>
      <p:pic>
        <p:nvPicPr>
          <p:cNvPr id="5" name="Picture 4">
            <a:extLst>
              <a:ext uri="{FF2B5EF4-FFF2-40B4-BE49-F238E27FC236}">
                <a16:creationId xmlns:a16="http://schemas.microsoft.com/office/drawing/2014/main" id="{418FAC53-C4AC-4FEC-B91C-D2A612603DBF}"/>
              </a:ext>
            </a:extLst>
          </p:cNvPr>
          <p:cNvPicPr>
            <a:picLocks noChangeAspect="1"/>
          </p:cNvPicPr>
          <p:nvPr/>
        </p:nvPicPr>
        <p:blipFill rotWithShape="1">
          <a:blip r:embed="rId6"/>
          <a:srcRect l="15190" t="16162" r="43608" b="50000"/>
          <a:stretch/>
        </p:blipFill>
        <p:spPr>
          <a:xfrm>
            <a:off x="1388225" y="831273"/>
            <a:ext cx="3765666" cy="1740478"/>
          </a:xfrm>
          <a:prstGeom prst="rect">
            <a:avLst/>
          </a:prstGeom>
        </p:spPr>
      </p:pic>
    </p:spTree>
    <p:extLst>
      <p:ext uri="{BB962C8B-B14F-4D97-AF65-F5344CB8AC3E}">
        <p14:creationId xmlns:p14="http://schemas.microsoft.com/office/powerpoint/2010/main" val="103033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9352EB-B563-4DCD-9C93-C2819036143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139623946"/>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2CE6D6-5075-47EF-8502-B92F642806D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3838602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E2D973-1CA9-481B-A685-7E26857693A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409069659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DCBEF0-6A3F-4E01-9A32-E60118207D9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3645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608DA-D628-4ED3-B20B-EAAAC080B7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81894383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20AB48-54B7-4F09-9A9D-571FF8B6B83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7524899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07BF6-FC2C-4268-B105-39B9ECE8A485}"/>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B76D8FA6-E1F4-4791-8C17-D2CBFE298A6B}"/>
              </a:ext>
            </a:extLst>
          </p:cNvPr>
          <p:cNvSpPr/>
          <p:nvPr/>
        </p:nvSpPr>
        <p:spPr>
          <a:xfrm>
            <a:off x="6096000" y="3514724"/>
            <a:ext cx="2598420" cy="1928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7019943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0BA854-254C-4BE0-A053-D872204E4D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74483956"/>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9C4AB2-D5AE-49FF-8B57-BEEA24330C31}"/>
              </a:ext>
            </a:extLst>
          </p:cNvPr>
          <p:cNvPicPr>
            <a:picLocks noChangeAspect="1"/>
          </p:cNvPicPr>
          <p:nvPr/>
        </p:nvPicPr>
        <p:blipFill>
          <a:blip r:embed="rId3"/>
          <a:stretch>
            <a:fillRect/>
          </a:stretch>
        </p:blipFill>
        <p:spPr>
          <a:xfrm>
            <a:off x="2643922" y="0"/>
            <a:ext cx="3856155" cy="5143500"/>
          </a:xfrm>
          <a:prstGeom prst="rect">
            <a:avLst/>
          </a:prstGeom>
        </p:spPr>
      </p:pic>
    </p:spTree>
    <p:extLst>
      <p:ext uri="{BB962C8B-B14F-4D97-AF65-F5344CB8AC3E}">
        <p14:creationId xmlns:p14="http://schemas.microsoft.com/office/powerpoint/2010/main" val="1064186439"/>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3AB32A-66B1-4E6B-B885-872AA3DD2DC6}"/>
              </a:ext>
            </a:extLst>
          </p:cNvPr>
          <p:cNvPicPr>
            <a:picLocks noChangeAspect="1"/>
          </p:cNvPicPr>
          <p:nvPr/>
        </p:nvPicPr>
        <p:blipFill>
          <a:blip r:embed="rId3"/>
          <a:stretch>
            <a:fillRect/>
          </a:stretch>
        </p:blipFill>
        <p:spPr>
          <a:xfrm>
            <a:off x="3096550" y="0"/>
            <a:ext cx="2950899" cy="5143500"/>
          </a:xfrm>
          <a:prstGeom prst="rect">
            <a:avLst/>
          </a:prstGeom>
        </p:spPr>
      </p:pic>
    </p:spTree>
    <p:extLst>
      <p:ext uri="{BB962C8B-B14F-4D97-AF65-F5344CB8AC3E}">
        <p14:creationId xmlns:p14="http://schemas.microsoft.com/office/powerpoint/2010/main" val="293586407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617847-EB8D-4726-B254-508C510173F8}"/>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582473823"/>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AB4B39-83AB-4947-81EF-25328FE3D2FE}"/>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7C346B22-63E4-4439-8344-D9CD2771253E}"/>
              </a:ext>
            </a:extLst>
          </p:cNvPr>
          <p:cNvSpPr/>
          <p:nvPr/>
        </p:nvSpPr>
        <p:spPr>
          <a:xfrm>
            <a:off x="3410093" y="4496372"/>
            <a:ext cx="1388788" cy="3079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88878451"/>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90CAF5-46F9-467B-AAC7-4D2295AB2D9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3360153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BD10EC-1592-4E04-A7B3-9CD96CC2820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7148489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442219-CDFB-43B2-86FC-B4626C4FD1F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22552272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DB26DB-CF79-4D34-BA48-D1BBC0D37EA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641325111"/>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2BDC7D2-094A-4DAD-8E32-BD3CE080D7B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246596394"/>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8DF94B-C55F-4037-84B1-B507F2DE9728}"/>
              </a:ext>
            </a:extLst>
          </p:cNvPr>
          <p:cNvPicPr>
            <a:picLocks noChangeAspect="1"/>
          </p:cNvPicPr>
          <p:nvPr/>
        </p:nvPicPr>
        <p:blipFill>
          <a:blip r:embed="rId3"/>
          <a:stretch>
            <a:fillRect/>
          </a:stretch>
        </p:blipFill>
        <p:spPr>
          <a:xfrm>
            <a:off x="5231" y="0"/>
            <a:ext cx="9133538" cy="5143500"/>
          </a:xfrm>
          <a:prstGeom prst="rect">
            <a:avLst/>
          </a:prstGeom>
        </p:spPr>
      </p:pic>
    </p:spTree>
    <p:extLst>
      <p:ext uri="{BB962C8B-B14F-4D97-AF65-F5344CB8AC3E}">
        <p14:creationId xmlns:p14="http://schemas.microsoft.com/office/powerpoint/2010/main" val="1591350488"/>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52E89E-EDEA-4592-B3A1-EC4F3A01B524}"/>
              </a:ext>
            </a:extLst>
          </p:cNvPr>
          <p:cNvPicPr>
            <a:picLocks noChangeAspect="1"/>
          </p:cNvPicPr>
          <p:nvPr/>
        </p:nvPicPr>
        <p:blipFill>
          <a:blip r:embed="rId2"/>
          <a:stretch>
            <a:fillRect/>
          </a:stretch>
        </p:blipFill>
        <p:spPr>
          <a:xfrm>
            <a:off x="2288" y="0"/>
            <a:ext cx="9139423" cy="5143500"/>
          </a:xfrm>
          <a:prstGeom prst="rect">
            <a:avLst/>
          </a:prstGeom>
        </p:spPr>
      </p:pic>
    </p:spTree>
    <p:extLst>
      <p:ext uri="{BB962C8B-B14F-4D97-AF65-F5344CB8AC3E}">
        <p14:creationId xmlns:p14="http://schemas.microsoft.com/office/powerpoint/2010/main" val="373874049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480A44-64DB-4A34-8151-52A872054F79}"/>
              </a:ext>
            </a:extLst>
          </p:cNvPr>
          <p:cNvPicPr>
            <a:picLocks noChangeAspect="1"/>
          </p:cNvPicPr>
          <p:nvPr/>
        </p:nvPicPr>
        <p:blipFill>
          <a:blip r:embed="rId2"/>
          <a:stretch>
            <a:fillRect/>
          </a:stretch>
        </p:blipFill>
        <p:spPr>
          <a:xfrm>
            <a:off x="7511" y="0"/>
            <a:ext cx="9128978" cy="5143500"/>
          </a:xfrm>
          <a:prstGeom prst="rect">
            <a:avLst/>
          </a:prstGeom>
        </p:spPr>
      </p:pic>
    </p:spTree>
    <p:extLst>
      <p:ext uri="{BB962C8B-B14F-4D97-AF65-F5344CB8AC3E}">
        <p14:creationId xmlns:p14="http://schemas.microsoft.com/office/powerpoint/2010/main" val="228262047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358664"/>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876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781352"/>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741263"/>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351834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
        <p:nvSpPr>
          <p:cNvPr id="6" name="Title 4">
            <a:extLst>
              <a:ext uri="{FF2B5EF4-FFF2-40B4-BE49-F238E27FC236}">
                <a16:creationId xmlns:a16="http://schemas.microsoft.com/office/drawing/2014/main" id="{59362342-D148-498B-AEAA-0E78CEE2DC6E}"/>
              </a:ext>
            </a:extLst>
          </p:cNvPr>
          <p:cNvSpPr>
            <a:spLocks noGrp="1"/>
          </p:cNvSpPr>
          <p:nvPr>
            <p:ph type="title"/>
          </p:nvPr>
        </p:nvSpPr>
        <p:spPr>
          <a:xfrm>
            <a:off x="246490" y="437936"/>
            <a:ext cx="2263608" cy="960878"/>
          </a:xfrm>
        </p:spPr>
        <p:txBody>
          <a:bodyPr/>
          <a:lstStyle/>
          <a:p>
            <a:r>
              <a:rPr lang="en-US" dirty="0"/>
              <a:t>Summary</a:t>
            </a:r>
          </a:p>
        </p:txBody>
      </p:sp>
    </p:spTree>
    <p:extLst>
      <p:ext uri="{BB962C8B-B14F-4D97-AF65-F5344CB8AC3E}">
        <p14:creationId xmlns:p14="http://schemas.microsoft.com/office/powerpoint/2010/main" val="271321365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
        <p:nvSpPr>
          <p:cNvPr id="7" name="Title 4">
            <a:extLst>
              <a:ext uri="{FF2B5EF4-FFF2-40B4-BE49-F238E27FC236}">
                <a16:creationId xmlns:a16="http://schemas.microsoft.com/office/drawing/2014/main" id="{09CB600B-E2F2-4486-8C66-D1670E3955D8}"/>
              </a:ext>
            </a:extLst>
          </p:cNvPr>
          <p:cNvSpPr txBox="1">
            <a:spLocks/>
          </p:cNvSpPr>
          <p:nvPr/>
        </p:nvSpPr>
        <p:spPr>
          <a:xfrm>
            <a:off x="246490" y="437936"/>
            <a:ext cx="2263608" cy="960878"/>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a:t>Summary</a:t>
            </a:r>
            <a:endParaRPr lang="en-US" dirty="0"/>
          </a:p>
        </p:txBody>
      </p:sp>
    </p:spTree>
    <p:extLst>
      <p:ext uri="{BB962C8B-B14F-4D97-AF65-F5344CB8AC3E}">
        <p14:creationId xmlns:p14="http://schemas.microsoft.com/office/powerpoint/2010/main" val="187248721"/>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fleitasarts.com</a:t>
            </a:r>
          </a:p>
          <a:p>
            <a:r>
              <a:rPr lang="en-US" dirty="0"/>
              <a:t>github.com/hfleitas/seattle2019</a:t>
            </a:r>
          </a:p>
          <a:p>
            <a:r>
              <a:rPr lang="en-US" dirty="0">
                <a:hlinkClick r:id="rId3"/>
              </a:rPr>
              <a:t>Microsoft Learn</a:t>
            </a:r>
            <a:endParaRPr lang="en-US" dirty="0"/>
          </a:p>
          <a:p>
            <a:r>
              <a:rPr lang="en-US" dirty="0">
                <a:hlinkClick r:id="rId4"/>
              </a:rPr>
              <a:t>Pricing</a:t>
            </a:r>
            <a:endParaRPr lang="en-US" dirty="0"/>
          </a:p>
          <a:p>
            <a:r>
              <a:rPr lang="en-US" dirty="0">
                <a:hlinkClick r:id="rId5"/>
              </a:rPr>
              <a:t>Integrating Bing Maps with GPS</a:t>
            </a:r>
            <a:endParaRPr lang="en-US" dirty="0"/>
          </a:p>
          <a:p>
            <a:r>
              <a:rPr lang="en-US" dirty="0">
                <a:hlinkClick r:id="rId6"/>
              </a:rPr>
              <a:t>Scrolling Screen</a:t>
            </a:r>
            <a:endParaRPr lang="en-US" dirty="0"/>
          </a:p>
          <a:p>
            <a:r>
              <a:rPr lang="en-US" dirty="0">
                <a:hlinkClick r:id="rId7"/>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05355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0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large ship in a body of water&#10;&#10;Description generated with very high confidence">
            <a:extLst>
              <a:ext uri="{FF2B5EF4-FFF2-40B4-BE49-F238E27FC236}">
                <a16:creationId xmlns:a16="http://schemas.microsoft.com/office/drawing/2014/main" id="{8FF1986E-3D28-4EB3-A94C-8D9262C6EBEC}"/>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t="12755" r="48581" b="12257"/>
          <a:stretch/>
        </p:blipFill>
        <p:spPr>
          <a:xfrm>
            <a:off x="4452550" y="0"/>
            <a:ext cx="4721336" cy="5164931"/>
          </a:xfrm>
          <a:prstGeom prst="rect">
            <a:avLst/>
          </a:prstGeom>
        </p:spPr>
      </p:pic>
      <p:sp>
        <p:nvSpPr>
          <p:cNvPr id="23" name="Parallelogram 1">
            <a:extLst>
              <a:ext uri="{FF2B5EF4-FFF2-40B4-BE49-F238E27FC236}">
                <a16:creationId xmlns:a16="http://schemas.microsoft.com/office/drawing/2014/main" id="{90B8AFF8-4783-4317-81AB-046C98845385}"/>
              </a:ext>
            </a:extLst>
          </p:cNvPr>
          <p:cNvSpPr/>
          <p:nvPr/>
        </p:nvSpPr>
        <p:spPr>
          <a:xfrm>
            <a:off x="4214586" y="-25134"/>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198249" y="1394487"/>
            <a:ext cx="2945751" cy="251226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80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32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3" name="Text Placeholder 9">
            <a:extLst>
              <a:ext uri="{FF2B5EF4-FFF2-40B4-BE49-F238E27FC236}">
                <a16:creationId xmlns:a16="http://schemas.microsoft.com/office/drawing/2014/main" id="{3DB415B2-C9BC-4F7E-A529-2F07A23EC7F6}"/>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sz="3600" dirty="0">
                <a:solidFill>
                  <a:prstClr val="black"/>
                </a:solidFill>
                <a:latin typeface="Segoe UI Semibold" panose="020B0702040204020203" pitchFamily="34" charset="0"/>
                <a:cs typeface="Segoe UI Semibold" panose="020B0702040204020203" pitchFamily="34" charset="0"/>
              </a:rPr>
              <a:t>Hiram Fleitas</a:t>
            </a:r>
            <a:endParaRPr lang="en-US" sz="3600" dirty="0">
              <a:solidFill>
                <a:prstClr val="black"/>
              </a:solidFill>
              <a:latin typeface="Segoe UI Semibold" panose="020B0702040204020203" pitchFamily="34" charset="0"/>
              <a:cs typeface="Segoe UI Semibold" panose="020B0702040204020203" pitchFamily="34" charset="0"/>
            </a:endParaRPr>
          </a:p>
          <a:p>
            <a:pPr defTabSz="457189">
              <a:defRPr/>
            </a:pPr>
            <a:r>
              <a:rPr lang="en-US" sz="2200" dirty="0">
                <a:solidFill>
                  <a:srgbClr val="B8232F"/>
                </a:solidFill>
                <a:latin typeface="Segoe UI Semibold" panose="020B0702040204020203" pitchFamily="34" charset="0"/>
                <a:cs typeface="Segoe UI Semibold" panose="020B0702040204020203" pitchFamily="34" charset="0"/>
              </a:rPr>
              <a:t>universalproperty.com</a:t>
            </a:r>
          </a:p>
        </p:txBody>
      </p:sp>
      <p:sp>
        <p:nvSpPr>
          <p:cNvPr id="47" name="Text Placeholder 9">
            <a:hlinkClick r:id="rId6"/>
            <a:extLst>
              <a:ext uri="{FF2B5EF4-FFF2-40B4-BE49-F238E27FC236}">
                <a16:creationId xmlns:a16="http://schemas.microsoft.com/office/drawing/2014/main" id="{5CD6C013-4D97-45E3-8F07-F5BDA61AF6CC}"/>
              </a:ext>
            </a:extLst>
          </p:cNvPr>
          <p:cNvSpPr txBox="1">
            <a:spLocks/>
          </p:cNvSpPr>
          <p:nvPr/>
        </p:nvSpPr>
        <p:spPr>
          <a:xfrm>
            <a:off x="2824390" y="153845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6"/>
            <a:extLst>
              <a:ext uri="{FF2B5EF4-FFF2-40B4-BE49-F238E27FC236}">
                <a16:creationId xmlns:a16="http://schemas.microsoft.com/office/drawing/2014/main" id="{4F0CAA02-E460-4A9E-BB1C-B6B82F1A42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24393" y="153845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21143" y="3819906"/>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36453" y="3247374"/>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3328" y="2676814"/>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11"/>
            <a:extLst>
              <a:ext uri="{FF2B5EF4-FFF2-40B4-BE49-F238E27FC236}">
                <a16:creationId xmlns:a16="http://schemas.microsoft.com/office/drawing/2014/main" id="{027EA7D1-4CC3-428C-A4E6-A2A95BD829CB}"/>
              </a:ext>
            </a:extLst>
          </p:cNvPr>
          <p:cNvSpPr txBox="1">
            <a:spLocks/>
          </p:cNvSpPr>
          <p:nvPr/>
        </p:nvSpPr>
        <p:spPr>
          <a:xfrm>
            <a:off x="2823328" y="3247375"/>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3329" y="2104479"/>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3"/>
            <a:extLst>
              <a:ext uri="{FF2B5EF4-FFF2-40B4-BE49-F238E27FC236}">
                <a16:creationId xmlns:a16="http://schemas.microsoft.com/office/drawing/2014/main" id="{DC22C29F-1B24-4845-BF52-52D9FC3A9AA6}"/>
              </a:ext>
            </a:extLst>
          </p:cNvPr>
          <p:cNvSpPr txBox="1">
            <a:spLocks/>
          </p:cNvSpPr>
          <p:nvPr/>
        </p:nvSpPr>
        <p:spPr>
          <a:xfrm>
            <a:off x="2823329" y="2672826"/>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4"/>
            <a:extLst>
              <a:ext uri="{FF2B5EF4-FFF2-40B4-BE49-F238E27FC236}">
                <a16:creationId xmlns:a16="http://schemas.microsoft.com/office/drawing/2014/main" id="{4DBB72F9-D5CE-45FA-9220-80BF8C6D9267}"/>
              </a:ext>
            </a:extLst>
          </p:cNvPr>
          <p:cNvSpPr txBox="1">
            <a:spLocks/>
          </p:cNvSpPr>
          <p:nvPr/>
        </p:nvSpPr>
        <p:spPr>
          <a:xfrm>
            <a:off x="2824287" y="3820277"/>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5"/>
            <a:extLst>
              <a:ext uri="{FF2B5EF4-FFF2-40B4-BE49-F238E27FC236}">
                <a16:creationId xmlns:a16="http://schemas.microsoft.com/office/drawing/2014/main" id="{6C680AE3-1A90-44CC-9B42-3B17584F8112}"/>
              </a:ext>
            </a:extLst>
          </p:cNvPr>
          <p:cNvSpPr txBox="1">
            <a:spLocks/>
          </p:cNvSpPr>
          <p:nvPr/>
        </p:nvSpPr>
        <p:spPr>
          <a:xfrm>
            <a:off x="2823328" y="2102812"/>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20" name="Parallelogram 1">
            <a:extLst>
              <a:ext uri="{FF2B5EF4-FFF2-40B4-BE49-F238E27FC236}">
                <a16:creationId xmlns:a16="http://schemas.microsoft.com/office/drawing/2014/main" id="{C86DBB8C-8D9C-4C8B-85CF-3CF390C5F1C0}"/>
              </a:ext>
            </a:extLst>
          </p:cNvPr>
          <p:cNvSpPr/>
          <p:nvPr/>
        </p:nvSpPr>
        <p:spPr>
          <a:xfrm rot="5400000" flipH="1">
            <a:off x="5944133" y="1933040"/>
            <a:ext cx="647944" cy="5811561"/>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3910863000"/>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Notebook</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2200" dirty="0">
                <a:solidFill>
                  <a:schemeClr val="accent2"/>
                </a:solidFill>
                <a:latin typeface="Segoe UI Semibold" panose="020B0702040204020203" pitchFamily="34" charset="0"/>
                <a:cs typeface="Segoe UI Semibold" panose="020B0702040204020203" pitchFamily="34" charset="0"/>
              </a:rPr>
              <a:t>Principal Data Architect, Universal Property</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6419</TotalTime>
  <Words>12186</Words>
  <Application>Microsoft Office PowerPoint</Application>
  <PresentationFormat>On-screen Show (16:9)</PresentationFormat>
  <Paragraphs>1457</Paragraphs>
  <Slides>310</Slides>
  <Notes>260</Notes>
  <HiddenSlides>1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10</vt:i4>
      </vt:variant>
    </vt:vector>
  </HeadingPairs>
  <TitlesOfParts>
    <vt:vector size="326"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Notebook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LS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vals (DEMO 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Space Station (DEMO 10)</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Resources</vt:lpstr>
      <vt:lpstr>Resources</vt:lpstr>
      <vt:lpstr>PowerPoint Presentation</vt:lpstr>
      <vt:lpstr>PowerPoint Presentation</vt:lpstr>
      <vt:lpstr>PowerPoint Presentation</vt:lpstr>
      <vt:lpstr>PowerPoint Presentation</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335</cp:revision>
  <dcterms:created xsi:type="dcterms:W3CDTF">2013-07-12T18:23:55Z</dcterms:created>
  <dcterms:modified xsi:type="dcterms:W3CDTF">2019-10-31T05:08:05Z</dcterms:modified>
  <cp:category>Develop</cp:category>
  <cp:contentStatus/>
</cp:coreProperties>
</file>